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shida, Tomomichi [CONJP]" userId="282b0c65-ac2c-4d5e-bfc6-3966d5c10c93" providerId="ADAL" clId="{8B85477F-DD9E-41A3-B5D3-5FFE4EB23B0F}"/>
    <pc:docChg chg="custSel addSld modSld modMainMaster replTag">
      <pc:chgData name="Nishida, Tomomichi [CONJP]" userId="282b0c65-ac2c-4d5e-bfc6-3966d5c10c93" providerId="ADAL" clId="{8B85477F-DD9E-41A3-B5D3-5FFE4EB23B0F}" dt="2022-12-21T02:54:42.066" v="97"/>
      <pc:docMkLst>
        <pc:docMk/>
      </pc:docMkLst>
      <pc:sldChg chg="addSp delSp modSp new add mod">
        <pc:chgData name="Nishida, Tomomichi [CONJP]" userId="282b0c65-ac2c-4d5e-bfc6-3966d5c10c93" providerId="ADAL" clId="{8B85477F-DD9E-41A3-B5D3-5FFE4EB23B0F}" dt="2022-12-21T02:54:14.546" v="76"/>
        <pc:sldMkLst>
          <pc:docMk/>
          <pc:sldMk cId="4220648394" sldId="256"/>
        </pc:sldMkLst>
        <pc:spChg chg="del">
          <ac:chgData name="Nishida, Tomomichi [CONJP]" userId="282b0c65-ac2c-4d5e-bfc6-3966d5c10c93" providerId="ADAL" clId="{8B85477F-DD9E-41A3-B5D3-5FFE4EB23B0F}" dt="2022-12-21T02:53:24.467" v="2" actId="478"/>
          <ac:spMkLst>
            <pc:docMk/>
            <pc:sldMk cId="4220648394" sldId="256"/>
            <ac:spMk id="2" creationId="{79C5D144-2652-2BBC-29EB-03D756639F7E}"/>
          </ac:spMkLst>
        </pc:spChg>
        <pc:spChg chg="del">
          <ac:chgData name="Nishida, Tomomichi [CONJP]" userId="282b0c65-ac2c-4d5e-bfc6-3966d5c10c93" providerId="ADAL" clId="{8B85477F-DD9E-41A3-B5D3-5FFE4EB23B0F}" dt="2022-12-21T02:53:24.467" v="2" actId="478"/>
          <ac:spMkLst>
            <pc:docMk/>
            <pc:sldMk cId="4220648394" sldId="256"/>
            <ac:spMk id="3" creationId="{487831F0-59E6-E0B9-B3FD-FA3C7365CCB8}"/>
          </ac:spMkLst>
        </pc:spChg>
        <pc:graphicFrameChg chg="add mod modVis replST">
          <ac:chgData name="Nishida, Tomomichi [CONJP]" userId="282b0c65-ac2c-4d5e-bfc6-3966d5c10c93" providerId="ADAL" clId="{8B85477F-DD9E-41A3-B5D3-5FFE4EB23B0F}" dt="2022-12-21T02:53:25.360" v="74"/>
          <ac:graphicFrameMkLst>
            <pc:docMk/>
            <pc:sldMk cId="4220648394" sldId="256"/>
            <ac:graphicFrameMk id="4" creationId="{ED582081-0C80-BE0B-CE6B-F9084CBE7E21}"/>
          </ac:graphicFrameMkLst>
        </pc:graphicFrameChg>
        <pc:picChg chg="add">
          <ac:chgData name="Nishida, Tomomichi [CONJP]" userId="282b0c65-ac2c-4d5e-bfc6-3966d5c10c93" providerId="ADAL" clId="{8B85477F-DD9E-41A3-B5D3-5FFE4EB23B0F}" dt="2022-12-21T02:54:14.546" v="76"/>
          <ac:picMkLst>
            <pc:docMk/>
            <pc:sldMk cId="4220648394" sldId="256"/>
            <ac:picMk id="6" creationId="{518A4D04-9744-F957-E8A6-E4C212E78C47}"/>
          </ac:picMkLst>
        </pc:picChg>
      </pc:sldChg>
      <pc:sldChg chg="addSp delSp modSp new add mod">
        <pc:chgData name="Nishida, Tomomichi [CONJP]" userId="282b0c65-ac2c-4d5e-bfc6-3966d5c10c93" providerId="ADAL" clId="{8B85477F-DD9E-41A3-B5D3-5FFE4EB23B0F}" dt="2022-12-21T02:54:42.066" v="97"/>
        <pc:sldMkLst>
          <pc:docMk/>
          <pc:sldMk cId="3841656798" sldId="257"/>
        </pc:sldMkLst>
        <pc:spChg chg="del">
          <ac:chgData name="Nishida, Tomomichi [CONJP]" userId="282b0c65-ac2c-4d5e-bfc6-3966d5c10c93" providerId="ADAL" clId="{8B85477F-DD9E-41A3-B5D3-5FFE4EB23B0F}" dt="2022-12-21T02:54:20.166" v="79" actId="478"/>
          <ac:spMkLst>
            <pc:docMk/>
            <pc:sldMk cId="3841656798" sldId="257"/>
            <ac:spMk id="2" creationId="{E1A9658B-F9F0-9E1F-CB92-88F52FF90A05}"/>
          </ac:spMkLst>
        </pc:spChg>
        <pc:spChg chg="del">
          <ac:chgData name="Nishida, Tomomichi [CONJP]" userId="282b0c65-ac2c-4d5e-bfc6-3966d5c10c93" providerId="ADAL" clId="{8B85477F-DD9E-41A3-B5D3-5FFE4EB23B0F}" dt="2022-12-21T02:54:20.166" v="79" actId="478"/>
          <ac:spMkLst>
            <pc:docMk/>
            <pc:sldMk cId="3841656798" sldId="257"/>
            <ac:spMk id="3" creationId="{D775DA02-AC78-3492-8E3B-9A46A089C593}"/>
          </ac:spMkLst>
        </pc:spChg>
        <pc:graphicFrameChg chg="add mod modVis replST">
          <ac:chgData name="Nishida, Tomomichi [CONJP]" userId="282b0c65-ac2c-4d5e-bfc6-3966d5c10c93" providerId="ADAL" clId="{8B85477F-DD9E-41A3-B5D3-5FFE4EB23B0F}" dt="2022-12-21T02:54:20.735" v="95"/>
          <ac:graphicFrameMkLst>
            <pc:docMk/>
            <pc:sldMk cId="3841656798" sldId="257"/>
            <ac:graphicFrameMk id="4" creationId="{5B3232BD-EE52-1B10-44B6-31858E4F958E}"/>
          </ac:graphicFrameMkLst>
        </pc:graphicFrameChg>
        <pc:picChg chg="add">
          <ac:chgData name="Nishida, Tomomichi [CONJP]" userId="282b0c65-ac2c-4d5e-bfc6-3966d5c10c93" providerId="ADAL" clId="{8B85477F-DD9E-41A3-B5D3-5FFE4EB23B0F}" dt="2022-12-21T02:54:42.066" v="97"/>
          <ac:picMkLst>
            <pc:docMk/>
            <pc:sldMk cId="3841656798" sldId="257"/>
            <ac:picMk id="6" creationId="{3612FB35-B04D-EA58-3581-DE7CF17AA775}"/>
          </ac:picMkLst>
        </pc:picChg>
      </pc:sldChg>
      <pc:sldMasterChg chg="addSp delSp modSp mod">
        <pc:chgData name="Nishida, Tomomichi [CONJP]" userId="282b0c65-ac2c-4d5e-bfc6-3966d5c10c93" providerId="ADAL" clId="{8B85477F-DD9E-41A3-B5D3-5FFE4EB23B0F}" dt="2022-12-21T02:53:25.324" v="60"/>
        <pc:sldMasterMkLst>
          <pc:docMk/>
          <pc:sldMasterMk cId="3127783951" sldId="2147483648"/>
        </pc:sldMasterMkLst>
        <pc:spChg chg="mod">
          <ac:chgData name="Nishida, Tomomichi [CONJP]" userId="282b0c65-ac2c-4d5e-bfc6-3966d5c10c93" providerId="ADAL" clId="{8B85477F-DD9E-41A3-B5D3-5FFE4EB23B0F}" dt="2022-12-21T02:53:24.992" v="3" actId="948"/>
          <ac:spMkLst>
            <pc:docMk/>
            <pc:sldMasterMk cId="3127783951" sldId="2147483648"/>
            <ac:spMk id="2" creationId="{920FA7B8-86ED-922B-ED61-3F252BEC513D}"/>
          </ac:spMkLst>
        </pc:spChg>
        <pc:spChg chg="add del mod modVis">
          <ac:chgData name="Nishida, Tomomichi [CONJP]" userId="282b0c65-ac2c-4d5e-bfc6-3966d5c10c93" providerId="ADAL" clId="{8B85477F-DD9E-41A3-B5D3-5FFE4EB23B0F}" dt="2022-12-21T02:53:25.273" v="44"/>
          <ac:spMkLst>
            <pc:docMk/>
            <pc:sldMasterMk cId="3127783951" sldId="2147483648"/>
            <ac:spMk id="7" creationId="{E233B79D-71FB-B6F5-D9E7-56DF16008A48}"/>
          </ac:spMkLst>
        </pc:spChg>
        <pc:graphicFrameChg chg="add mod ord modVis replST">
          <ac:chgData name="Nishida, Tomomichi [CONJP]" userId="282b0c65-ac2c-4d5e-bfc6-3966d5c10c93" providerId="ADAL" clId="{8B85477F-DD9E-41A3-B5D3-5FFE4EB23B0F}" dt="2022-12-21T02:53:25.324" v="60"/>
          <ac:graphicFrameMkLst>
            <pc:docMk/>
            <pc:sldMasterMk cId="3127783951" sldId="2147483648"/>
            <ac:graphicFrameMk id="8" creationId="{F74C2CA3-CE84-8143-77BE-F103730CBACD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7D807CB-5FBA-D019-F104-10BB6BDCA6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1DA6F610-E2C8-9C9B-F294-4530428E65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FE00508-CFF9-C288-57E2-801C57189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79BE91E-22E6-4812-BBB4-A432160EE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32AF2A3-545A-CA26-B685-5C6688988E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891694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4B6831C-0757-1BF5-277F-AE94CEF8A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F9129CFE-3707-7258-7BFE-7F2594BA93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54C9303-6870-2D15-EF2A-BD19E461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76B13F6-9A58-A390-516A-39D608D2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1171B2A-A3B5-B5B8-E856-4D2F750D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4489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DC47C4D5-71F8-8BE1-AB57-C7894C5130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3C4AAC0D-D4FC-6623-27DC-570E3DAB3A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249826F-2D20-565D-9BA8-A46395645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7C72DC1-C3BF-F57B-B16A-15532AEBD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795EA0F3-0385-A33D-9D78-371BFC888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785291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29AF2EE-FCA0-E3D7-B9E2-D9876C28F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D593AE57-3EBF-0B66-75E4-8580B46519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593A60F-39B3-7876-350E-14EACA086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171E604-8E27-1B77-D428-53DB28154A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B9337F4-04CE-10FC-164B-FAC8A7B95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30292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F75C3D5-C068-207D-9EE7-DAD19453B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80E49428-CAC5-61EF-082A-3B1D24A4F7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18AFAF43-DA7B-1CF2-39DF-51CB78366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9DAC9E7-A2A2-B6C0-C867-D27FEE764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50C1C9B-5B64-FA08-8D94-C96DA3010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09723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DF1B1C-A0C7-7F38-4E74-56138D7021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F0AF7DFF-6285-788A-E495-D2615446CA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0097E51F-88F0-41FF-45B4-5C856614D1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FFFE137-FF99-44EB-494E-46704E9AD3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DE27E412-5887-EB33-278A-E3B773A42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5E3575B9-D166-D8B6-B24A-8D8961277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92477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A2FD72A-6CAE-9573-F73D-B8A3FA1E9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8528B34B-3A40-5963-D580-05A5AFFC2E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CCFBF8C8-BA09-AFBE-02FD-946BC64936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0F542D5-492B-5FDB-DC68-63D41D197D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58A3763B-687B-2B70-82DB-D164E318DB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884F439B-3973-381A-11ED-CBF922D51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945EFD13-54A2-7A8F-101A-126EFD1441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6F161D3F-B738-E82A-3939-178353F080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89180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757F5D6-C543-A8C8-6E2D-A0A2CD56C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E0031CD5-DBC8-7C44-6867-F461C5F8D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06AB7512-E521-ACAD-0F8E-93E3F00EF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4C2BC5A3-B1CA-5EDA-D19A-DD33EE29C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970089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2BC05AD3-44CF-0637-371B-5837A7C3E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A2B52A3F-667B-1A45-B4F3-F8C8AC83B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8FF72FE9-E44A-6848-F7BB-C8300F47EE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500005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C598F19-06EC-2987-2808-F398A1708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B4C9E9C4-A33A-90D3-DC7C-8F03348F26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46D2C2F8-2118-FA32-5D32-8B224D5C1D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2A9E3CF3-E2D7-592E-A9C3-0360D299F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CFED6E56-F8D8-A2AC-C7FB-DEE92693C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60F1FF56-63F1-9E99-2218-1C1A29EFE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36723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D14DF04-9BCA-FB19-90FD-DA8FE8359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7E821A62-906E-B9E6-3B05-38921A5793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94AE42A1-855F-B881-0AE8-2F49D3C5BC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DBFB381A-1928-C126-1FCE-B97AB0FD1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BF36B6D-5944-D872-79D0-5B0037966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6E5856C-8C15-47DC-42A4-DCB5460BA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629647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F74C2CA3-CE84-8143-77BE-F103730CBA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47097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15" imgH="416" progId="TCLayout.ActiveDocument.1">
                  <p:embed/>
                </p:oleObj>
              </mc:Choice>
              <mc:Fallback>
                <p:oleObj name="think-cell スライド" r:id="rId14" imgW="415" imgH="416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F74C2CA3-CE84-8143-77BE-F103730CBA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920FA7B8-86ED-922B-ED61-3F252BEC5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B0C6E32-A73D-84A8-65CA-A283AA4D2C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9797F75-784B-8FD3-B3E1-E23D874198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EF4D88-3359-4789-9B61-38BC6E99ED9B}" type="datetimeFigureOut">
              <a:rPr kumimoji="1" lang="ja-JP" altLang="en-US" smtClean="0"/>
              <a:t>2022/12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900B802-8D2B-C994-1FA5-24F18DD94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D126D81-DB52-884D-2DBE-453F8B9460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D87A6A-CE31-406E-8A66-41BF497FF7E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778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ED582081-0C80-BE0B-CE6B-F9084CBE7E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018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15" imgH="416" progId="TCLayout.ActiveDocument.1">
                  <p:embed/>
                </p:oleObj>
              </mc:Choice>
              <mc:Fallback>
                <p:oleObj name="think-cell スライド" r:id="rId3" imgW="415" imgH="41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ED582081-0C80-BE0B-CE6B-F9084CBE7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>
            <a:extLst>
              <a:ext uri="{FF2B5EF4-FFF2-40B4-BE49-F238E27FC236}">
                <a16:creationId xmlns:a16="http://schemas.microsoft.com/office/drawing/2014/main" id="{518A4D04-9744-F957-E8A6-E4C212E78C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519109"/>
            <a:ext cx="12192000" cy="3819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6483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5B3232BD-EE52-1B10-44B6-31858E4F9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262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15" imgH="416" progId="TCLayout.ActiveDocument.1">
                  <p:embed/>
                </p:oleObj>
              </mc:Choice>
              <mc:Fallback>
                <p:oleObj name="think-cell スライド" r:id="rId3" imgW="415" imgH="416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5B3232BD-EE52-1B10-44B6-31858E4F9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>
            <a:extLst>
              <a:ext uri="{FF2B5EF4-FFF2-40B4-BE49-F238E27FC236}">
                <a16:creationId xmlns:a16="http://schemas.microsoft.com/office/drawing/2014/main" id="{3612FB35-B04D-EA58-3581-DE7CF17AA7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443671"/>
            <a:ext cx="12192000" cy="397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656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0</Words>
  <Application>Microsoft Office PowerPoint</Application>
  <PresentationFormat>ワイド画面</PresentationFormat>
  <Paragraphs>0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7" baseType="lpstr">
      <vt:lpstr>游ゴシック</vt:lpstr>
      <vt:lpstr>游ゴシック Light</vt:lpstr>
      <vt:lpstr>Arial</vt:lpstr>
      <vt:lpstr>Office テーマ</vt:lpstr>
      <vt:lpstr>think-cell スライド</vt:lpstr>
      <vt:lpstr>PowerPoint プレゼンテーション</vt:lpstr>
      <vt:lpstr>PowerPoint プレゼンテーション</vt:lpstr>
    </vt:vector>
  </TitlesOfParts>
  <Company>JNJ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ishida, Tomomichi [CONJP]</dc:creator>
  <cp:lastModifiedBy>Nishida, Tomomichi [CONJP]</cp:lastModifiedBy>
  <cp:revision>1</cp:revision>
  <dcterms:created xsi:type="dcterms:W3CDTF">2022-12-21T02:53:20Z</dcterms:created>
  <dcterms:modified xsi:type="dcterms:W3CDTF">2022-12-21T02:54:44Z</dcterms:modified>
</cp:coreProperties>
</file>